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1" r:id="rId1"/>
  </p:sldMasterIdLst>
  <p:notesMasterIdLst>
    <p:notesMasterId r:id="rId21"/>
  </p:notesMasterIdLst>
  <p:sldIdLst>
    <p:sldId id="2367" r:id="rId2"/>
    <p:sldId id="2460" r:id="rId3"/>
    <p:sldId id="2461" r:id="rId4"/>
    <p:sldId id="2464" r:id="rId5"/>
    <p:sldId id="2465" r:id="rId6"/>
    <p:sldId id="2462" r:id="rId7"/>
    <p:sldId id="2385" r:id="rId8"/>
    <p:sldId id="2386" r:id="rId9"/>
    <p:sldId id="2446" r:id="rId10"/>
    <p:sldId id="2463" r:id="rId11"/>
    <p:sldId id="2448" r:id="rId12"/>
    <p:sldId id="2447" r:id="rId13"/>
    <p:sldId id="2469" r:id="rId14"/>
    <p:sldId id="2451" r:id="rId15"/>
    <p:sldId id="2466" r:id="rId16"/>
    <p:sldId id="2467" r:id="rId17"/>
    <p:sldId id="2468" r:id="rId18"/>
    <p:sldId id="2452" r:id="rId19"/>
    <p:sldId id="2453" r:id="rId20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80" userDrawn="1">
          <p15:clr>
            <a:srgbClr val="A4A3A4"/>
          </p15:clr>
        </p15:guide>
        <p15:guide id="2" pos="7469" userDrawn="1">
          <p15:clr>
            <a:srgbClr val="A4A3A4"/>
          </p15:clr>
        </p15:guide>
        <p15:guide id="3" pos="208" userDrawn="1">
          <p15:clr>
            <a:srgbClr val="A4A3A4"/>
          </p15:clr>
        </p15:guide>
        <p15:guide id="4" orient="horz" pos="2806" userDrawn="1">
          <p15:clr>
            <a:srgbClr val="A4A3A4"/>
          </p15:clr>
        </p15:guide>
        <p15:guide id="5" orient="horz" pos="4130" userDrawn="1">
          <p15:clr>
            <a:srgbClr val="A4A3A4"/>
          </p15:clr>
        </p15:guide>
        <p15:guide id="6" orient="horz" pos="2286" userDrawn="1">
          <p15:clr>
            <a:srgbClr val="A4A3A4"/>
          </p15:clr>
        </p15:guide>
        <p15:guide id="7" pos="741" userDrawn="1">
          <p15:clr>
            <a:srgbClr val="A4A3A4"/>
          </p15:clr>
        </p15:guide>
        <p15:guide id="8" pos="1642" userDrawn="1">
          <p15:clr>
            <a:srgbClr val="A4A3A4"/>
          </p15:clr>
        </p15:guide>
        <p15:guide id="9" pos="3444" userDrawn="1">
          <p15:clr>
            <a:srgbClr val="A4A3A4"/>
          </p15:clr>
        </p15:guide>
        <p15:guide id="10" pos="4381" userDrawn="1">
          <p15:clr>
            <a:srgbClr val="A4A3A4"/>
          </p15:clr>
        </p15:guide>
        <p15:guide id="11" pos="5043" userDrawn="1">
          <p15:clr>
            <a:srgbClr val="A4A3A4"/>
          </p15:clr>
        </p15:guide>
        <p15:guide id="12" pos="55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3366"/>
    <a:srgbClr val="0D162D"/>
    <a:srgbClr val="294790"/>
    <a:srgbClr val="F8188D"/>
    <a:srgbClr val="FF11FF"/>
    <a:srgbClr val="345DAE"/>
    <a:srgbClr val="6C4436"/>
    <a:srgbClr val="955E4B"/>
    <a:srgbClr val="7D85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79" autoAdjust="0"/>
    <p:restoredTop sz="85011" autoAdjust="0"/>
  </p:normalViewPr>
  <p:slideViewPr>
    <p:cSldViewPr snapToGrid="0">
      <p:cViewPr>
        <p:scale>
          <a:sx n="100" d="100"/>
          <a:sy n="100" d="100"/>
        </p:scale>
        <p:origin x="-72" y="72"/>
      </p:cViewPr>
      <p:guideLst>
        <p:guide orient="horz" pos="680"/>
        <p:guide orient="horz" pos="2806"/>
        <p:guide orient="horz" pos="4130"/>
        <p:guide orient="horz" pos="2286"/>
        <p:guide pos="7469"/>
        <p:guide pos="208"/>
        <p:guide pos="741"/>
        <p:guide pos="1643"/>
        <p:guide pos="3444"/>
        <p:guide pos="4381"/>
        <p:guide pos="5043"/>
        <p:guide pos="55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49099" cy="498933"/>
          </a:xfrm>
          <a:prstGeom prst="rect">
            <a:avLst/>
          </a:prstGeom>
        </p:spPr>
        <p:txBody>
          <a:bodyPr vert="horz" lIns="91421" tIns="45709" rIns="91421" bIns="4570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2" y="4"/>
            <a:ext cx="2949099" cy="498933"/>
          </a:xfrm>
          <a:prstGeom prst="rect">
            <a:avLst/>
          </a:prstGeom>
        </p:spPr>
        <p:txBody>
          <a:bodyPr vert="horz" lIns="91421" tIns="45709" rIns="91421" bIns="45709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28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1" tIns="45709" rIns="91421" bIns="4570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9"/>
            <a:ext cx="5444490" cy="3915489"/>
          </a:xfrm>
          <a:prstGeom prst="rect">
            <a:avLst/>
          </a:prstGeom>
        </p:spPr>
        <p:txBody>
          <a:bodyPr vert="horz" lIns="91421" tIns="45709" rIns="91421" bIns="4570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5171"/>
            <a:ext cx="2949099" cy="498931"/>
          </a:xfrm>
          <a:prstGeom prst="rect">
            <a:avLst/>
          </a:prstGeom>
        </p:spPr>
        <p:txBody>
          <a:bodyPr vert="horz" lIns="91421" tIns="45709" rIns="91421" bIns="4570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2" y="9445171"/>
            <a:ext cx="2949099" cy="498931"/>
          </a:xfrm>
          <a:prstGeom prst="rect">
            <a:avLst/>
          </a:prstGeom>
        </p:spPr>
        <p:txBody>
          <a:bodyPr vert="horz" lIns="91421" tIns="45709" rIns="91421" bIns="45709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8.10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DBFF38-5F61-4724-BC47-B27AB2A7774B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84252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AEC88F-EDCD-40BD-ADB1-9066A5CB2AB7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412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0EC5E-C09E-4ADE-9F18-7340215F75E3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5794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8B196-6044-4658-9916-EA7ABB062158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9" y="1913739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552395" y="151971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275200" y="1497049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6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9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213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6F041E-805A-4F36-AB5B-EB5C47DED244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9" y="1913739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467602" y="156314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149965" y="1538161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3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9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30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252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5638A1-4AC8-4E79-BE44-90AED50A5F8F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235987" y="1913740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6553202" y="1596043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38201" y="1539318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9" y="1919553"/>
            <a:ext cx="3883543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577659" y="202315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5987" y="2507790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9" y="4099374"/>
            <a:ext cx="3883543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577659" y="4132593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5235987" y="4135047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235987" y="4729097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767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29DAB-62B4-4397-BFDA-55DDFD309710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79" y="1913739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612478" y="1541042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361389" y="1522714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6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57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79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6" y="3096933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4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11176" y="4274310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5520051" y="4307525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67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B730B5-A890-480A-A66A-968BC3B9907C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6" y="3645930"/>
            <a:ext cx="4077301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90183" y="330152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251432" y="1455966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6" y="1919552"/>
            <a:ext cx="4077301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0459" y="3623803"/>
            <a:ext cx="3336895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4909467" y="327939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4970713" y="1433839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230459" y="1919555"/>
            <a:ext cx="6780311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8673875" y="3605052"/>
            <a:ext cx="3336895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22098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7124503" y="2605770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99822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2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6" y="1842479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2F25A-A0ED-4EEB-AA54-A766FB0C5F83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274391" y="2873525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56769" y="1418411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521195" y="271197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6696" y="3359316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66696" y="3953366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6513787" y="1816734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8368284" y="2686226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513787" y="3333567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513787" y="3927621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9925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7" y="1842483"/>
            <a:ext cx="10223727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18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B0CA7-7BF7-43E1-AAA1-7E7488647817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348531" y="3104600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48529" y="1485176"/>
            <a:ext cx="4612403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0113" y="3393628"/>
            <a:ext cx="3336895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153660" y="263120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553529" y="3389851"/>
            <a:ext cx="3336895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105240" y="2608464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8979659" y="263371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41355" y="3389851"/>
            <a:ext cx="3336895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8994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927D9-3EF4-4F15-A076-C11C0EFA9049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0033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FDFF3-902E-4558-8B10-9A4D8B706847}" type="datetime1">
              <a:rPr lang="ru-RU" smtClean="0"/>
              <a:t>28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4373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4E14E-1F7E-49E2-879E-947040A2A2AF}" type="datetime1">
              <a:rPr lang="ru-RU" smtClean="0"/>
              <a:t>28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393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08219-66D4-4D91-9810-A1E4C925DA48}" type="datetime1">
              <a:rPr lang="ru-RU" smtClean="0"/>
              <a:t>28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4544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D1689-BC66-488D-AF11-F143E0E9B0A3}" type="datetime1">
              <a:rPr lang="ru-RU" smtClean="0"/>
              <a:t>28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98950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22D34B-DEB3-4ACD-9E94-441E5536CBEF}" type="datetime1">
              <a:rPr lang="ru-RU" smtClean="0"/>
              <a:t>28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2800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1ABEA-D4A1-4B05-A332-78837BDA9713}" type="datetime1">
              <a:rPr lang="ru-RU" smtClean="0"/>
              <a:t>28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121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06F08-41D8-40A4-A03A-050EF6FB07EE}" type="datetime1">
              <a:rPr lang="ru-RU" smtClean="0"/>
              <a:t>28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380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09CDDF-5409-4EC8-BDF5-ABB8244A4346}" type="datetime1">
              <a:rPr lang="ru-RU" smtClean="0"/>
              <a:t>28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337774" y="891636"/>
            <a:ext cx="11568479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 userDrawn="1"/>
        </p:nvSpPr>
        <p:spPr>
          <a:xfrm>
            <a:off x="337772" y="0"/>
            <a:ext cx="1833928" cy="891636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2" descr="C:\Users\akladova\Desktop\logo_prosveschenie-01.pn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36" y="229525"/>
            <a:ext cx="1447800" cy="59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7797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63" r:id="rId12"/>
    <p:sldLayoutId id="2147483664" r:id="rId13"/>
    <p:sldLayoutId id="2147483667" r:id="rId14"/>
    <p:sldLayoutId id="2147483665" r:id="rId15"/>
    <p:sldLayoutId id="2147483661" r:id="rId16"/>
    <p:sldLayoutId id="2147483662" r:id="rId17"/>
    <p:sldLayoutId id="2147483666" r:id="rId18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duneo.ru/wp-content/uploads/2019/01/%D0%A0%D0%B8%D1%81%D1%83%D0%BD%D0%BE%D0%BA-4.-%D0%9B%D0%B5%D0%BD%D1%82%D0%B0-%D0%BA%D1%83%D1%80%D1%81%D0%B0-%D0%B2-Google-Classroom.png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ru/intl/ru/forms/about/" TargetMode="External"/><Relationship Id="rId2" Type="http://schemas.openxmlformats.org/officeDocument/2006/relationships/hyperlink" Target="https://www.google.ru/intl/ru/docs/about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hyperlink" Target="https://www.liveworksheets.com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2906" y="4372123"/>
            <a:ext cx="11492396" cy="1231106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ru-RU" sz="4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нение </a:t>
            </a:r>
            <a:r>
              <a:rPr lang="en-US" sz="4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gle Classroom </a:t>
            </a:r>
            <a:r>
              <a:rPr lang="ru-RU" sz="4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</a:t>
            </a:r>
            <a:r>
              <a:rPr lang="en-US" sz="4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4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способы взаимодействия с учениками.</a:t>
            </a:r>
            <a:endParaRPr lang="ru-RU" sz="40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084" name="Picture 3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3455" y="265310"/>
            <a:ext cx="3017748" cy="240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592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нта: информация о происходящем в курсе</a:t>
            </a:r>
          </a:p>
        </p:txBody>
      </p:sp>
      <p:pic>
        <p:nvPicPr>
          <p:cNvPr id="204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71703" y="1314450"/>
            <a:ext cx="5925294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14349" y="2381250"/>
            <a:ext cx="46005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/>
              <a:buChar char="•"/>
            </a:pPr>
            <a:r>
              <a:rPr lang="ru-RU" dirty="0">
                <a:solidFill>
                  <a:srgbClr val="404040"/>
                </a:solidFill>
                <a:latin typeface="inherit"/>
              </a:rPr>
              <a:t>объявления преподавателя;</a:t>
            </a:r>
          </a:p>
          <a:p>
            <a:pPr fontAlgn="base">
              <a:buFont typeface="Arial"/>
              <a:buChar char="•"/>
            </a:pPr>
            <a:r>
              <a:rPr lang="ru-RU" dirty="0">
                <a:solidFill>
                  <a:srgbClr val="404040"/>
                </a:solidFill>
                <a:latin typeface="inherit"/>
              </a:rPr>
              <a:t>информация об учебных материалах для слушателей;</a:t>
            </a:r>
          </a:p>
          <a:p>
            <a:pPr fontAlgn="base">
              <a:buFont typeface="Arial"/>
              <a:buChar char="•"/>
            </a:pPr>
            <a:r>
              <a:rPr lang="ru-RU" dirty="0">
                <a:solidFill>
                  <a:srgbClr val="404040"/>
                </a:solidFill>
                <a:latin typeface="inherit"/>
              </a:rPr>
              <a:t>информация о заданиях для учащихся;</a:t>
            </a:r>
          </a:p>
          <a:p>
            <a:pPr fontAlgn="base">
              <a:buFont typeface="Arial"/>
              <a:buChar char="•"/>
            </a:pPr>
            <a:r>
              <a:rPr lang="ru-RU" dirty="0">
                <a:solidFill>
                  <a:srgbClr val="404040"/>
                </a:solidFill>
                <a:latin typeface="inherit"/>
              </a:rPr>
              <a:t>объявления от самих учащихся (при определенных настройках).</a:t>
            </a:r>
          </a:p>
          <a:p>
            <a:r>
              <a:rPr lang="ru-RU" dirty="0">
                <a:solidFill>
                  <a:srgbClr val="5E749F"/>
                </a:solidFill>
                <a:latin typeface="inherit"/>
                <a:hlinkClick r:id="rId3"/>
              </a:rPr>
              <a:t/>
            </a:r>
            <a:br>
              <a:rPr lang="ru-RU" dirty="0">
                <a:solidFill>
                  <a:srgbClr val="5E749F"/>
                </a:solidFill>
                <a:latin typeface="inherit"/>
                <a:hlinkClick r:id="rId3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1764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просмотра сданных заданий преподаватель переходит в раздел </a:t>
            </a:r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НТА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затем нажимает Все задания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/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846" y="1304925"/>
            <a:ext cx="743712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990" y="2495550"/>
            <a:ext cx="6037580" cy="377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239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</a:rPr>
              <a:t>2020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i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работы.</a:t>
            </a:r>
            <a:endParaRPr lang="ru-RU" b="1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Плюсы </a:t>
            </a:r>
            <a:r>
              <a:rPr lang="en-US" dirty="0" smtClean="0"/>
              <a:t>: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бно проверять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зможность оставить 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ментарий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оченность заданий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я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является</a:t>
            </a:r>
          </a:p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о сданных/несданных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ах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0" y="1781175"/>
            <a:ext cx="7254240" cy="507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1846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266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5" y="266701"/>
            <a:ext cx="7040879" cy="440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420813"/>
            <a:ext cx="6096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055" y="2838450"/>
            <a:ext cx="5821680" cy="36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375" y="5249863"/>
            <a:ext cx="6096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025" y="258763"/>
            <a:ext cx="2279650" cy="176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673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</a:rPr>
              <a:t>2020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 сервис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475" y="125413"/>
            <a:ext cx="2279650" cy="176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417" y="1893888"/>
            <a:ext cx="8987049" cy="3924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61975" y="5724525"/>
            <a:ext cx="19700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 также…..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2589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8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грация с популярными сервисам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5774" y="1560509"/>
            <a:ext cx="11477625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      В </a:t>
            </a:r>
            <a:r>
              <a:rPr lang="ru-RU" dirty="0"/>
              <a:t>Классе можно </a:t>
            </a:r>
            <a:r>
              <a:rPr lang="ru-RU" dirty="0" smtClean="0"/>
              <a:t>работать</a:t>
            </a:r>
            <a:r>
              <a:rPr lang="en-US" dirty="0" smtClean="0"/>
              <a:t>:</a:t>
            </a:r>
          </a:p>
          <a:p>
            <a:r>
              <a:rPr lang="ru-RU" dirty="0" smtClean="0"/>
              <a:t> </a:t>
            </a:r>
            <a:r>
              <a:rPr lang="ru-RU" dirty="0" err="1" smtClean="0"/>
              <a:t>GoogleДокументами</a:t>
            </a:r>
            <a:r>
              <a:rPr lang="ru-RU" dirty="0" smtClean="0"/>
              <a:t> 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www.google.ru/intl/ru/docs/about</a:t>
            </a:r>
            <a:r>
              <a:rPr lang="en-US" dirty="0" smtClean="0">
                <a:hlinkClick r:id="rId2"/>
              </a:rPr>
              <a:t>/</a:t>
            </a:r>
            <a:endParaRPr lang="ru-RU" dirty="0" smtClean="0"/>
          </a:p>
          <a:p>
            <a:r>
              <a:rPr lang="ru-RU" dirty="0" err="1" smtClean="0"/>
              <a:t>Gmail</a:t>
            </a:r>
            <a:r>
              <a:rPr lang="en-US" dirty="0" smtClean="0"/>
              <a:t> </a:t>
            </a:r>
            <a:r>
              <a:rPr lang="ru-RU" dirty="0" smtClean="0"/>
              <a:t>почтой </a:t>
            </a:r>
            <a:endParaRPr lang="en-US" dirty="0" smtClean="0"/>
          </a:p>
          <a:p>
            <a:r>
              <a:rPr lang="en-US" dirty="0" smtClean="0"/>
              <a:t>Google</a:t>
            </a:r>
            <a:r>
              <a:rPr lang="ru-RU" dirty="0" smtClean="0"/>
              <a:t>  Диском </a:t>
            </a:r>
          </a:p>
          <a:p>
            <a:r>
              <a:rPr lang="en-US" dirty="0" smtClean="0"/>
              <a:t>Google</a:t>
            </a:r>
            <a:r>
              <a:rPr lang="ru-RU" dirty="0" smtClean="0"/>
              <a:t> Формами </a:t>
            </a:r>
            <a:r>
              <a:rPr lang="en-US" dirty="0">
                <a:hlinkClick r:id="rId3"/>
              </a:rPr>
              <a:t>https://www.google.ru/intl/ru/forms/about</a:t>
            </a:r>
            <a:r>
              <a:rPr lang="en-US" dirty="0" smtClean="0">
                <a:hlinkClick r:id="rId3"/>
              </a:rPr>
              <a:t>/</a:t>
            </a:r>
            <a:endParaRPr lang="ru-RU" dirty="0" smtClean="0"/>
          </a:p>
          <a:p>
            <a:r>
              <a:rPr lang="ru-RU" dirty="0" smtClean="0"/>
              <a:t>А также использовать тесты из платформы </a:t>
            </a:r>
            <a:r>
              <a:rPr lang="en-US" dirty="0">
                <a:hlinkClick r:id="rId4"/>
              </a:rPr>
              <a:t>https://www.liveworksheets.com</a:t>
            </a:r>
            <a:r>
              <a:rPr lang="en-US" dirty="0" smtClean="0">
                <a:hlinkClick r:id="rId4"/>
              </a:rPr>
              <a:t>/</a:t>
            </a:r>
            <a:r>
              <a:rPr lang="ru-RU" dirty="0" smtClean="0"/>
              <a:t>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/>
          </a:p>
        </p:txBody>
      </p:sp>
      <p:pic>
        <p:nvPicPr>
          <p:cNvPr id="2355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6988" y="4631530"/>
            <a:ext cx="3596483" cy="347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304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63" y="282575"/>
            <a:ext cx="10676828" cy="103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352" y="1466850"/>
            <a:ext cx="5638800" cy="352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402" y="2870994"/>
            <a:ext cx="5966173" cy="3733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4538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 выполнения теста получит как учитель так и ученик</a:t>
            </a:r>
            <a:endParaRPr lang="ru-RU" sz="28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25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505" y="1733550"/>
            <a:ext cx="724154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494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</a:rPr>
              <a:t>2020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ки сервиса </a:t>
            </a:r>
            <a:r>
              <a:rPr lang="en-US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gle Classroom:</a:t>
            </a:r>
            <a:endParaRPr lang="ru-RU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т </a:t>
            </a:r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ной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омнаты. Но это легко заменить с помощью 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/>
          </a:p>
        </p:txBody>
      </p:sp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2762249"/>
            <a:ext cx="3643311" cy="3643311"/>
          </a:xfrm>
          <a:prstGeom prst="rect">
            <a:avLst/>
          </a:prstGeom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8438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526" y="2085975"/>
            <a:ext cx="5696024" cy="3560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835202" y="5794801"/>
            <a:ext cx="63886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ogle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lassroom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т электронного журнала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беля успеваемости обучаемого</a:t>
            </a:r>
            <a:r>
              <a:rPr lang="ru-RU" dirty="0"/>
              <a:t>). </a:t>
            </a:r>
          </a:p>
        </p:txBody>
      </p:sp>
    </p:spTree>
    <p:extLst>
      <p:ext uri="{BB962C8B-B14F-4D97-AF65-F5344CB8AC3E}">
        <p14:creationId xmlns:p14="http://schemas.microsoft.com/office/powerpoint/2010/main" val="86770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75029" y="6697029"/>
            <a:ext cx="18538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</a:rPr>
              <a:t>© АО «Издательство «Просвещение» 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</a:rPr>
              <a:t>2020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62604" y="994281"/>
            <a:ext cx="114930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ссуждений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0"/>
            <a:ext cx="119919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5842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тформа </a:t>
            </a:r>
            <a:r>
              <a:rPr lang="ru-RU" sz="3200" b="1" dirty="0" err="1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gle</a:t>
            </a:r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b="1" dirty="0" err="1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assroom</a:t>
            </a:r>
            <a:r>
              <a:rPr lang="ru-RU" sz="32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объединяет полезные сервисы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oogl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рганизованные специально для учёбы.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платформе вы можете:</a:t>
            </a:r>
          </a:p>
          <a:p>
            <a:r>
              <a:rPr lang="ru-RU" dirty="0"/>
              <a:t>создать свой класс/курс;</a:t>
            </a:r>
          </a:p>
          <a:p>
            <a:r>
              <a:rPr lang="ru-RU" dirty="0"/>
              <a:t>организовать запись учащихся на курс;</a:t>
            </a:r>
          </a:p>
          <a:p>
            <a:r>
              <a:rPr lang="ru-RU" dirty="0"/>
              <a:t>делиться с учениками необходимым учебным материалом;</a:t>
            </a:r>
          </a:p>
          <a:p>
            <a:r>
              <a:rPr lang="ru-RU" dirty="0"/>
              <a:t>предложить задания для учеников;</a:t>
            </a:r>
          </a:p>
          <a:p>
            <a:r>
              <a:rPr lang="ru-RU" dirty="0"/>
              <a:t>оценивать задания учащихся и следить за их прогрессом;</a:t>
            </a:r>
          </a:p>
          <a:p>
            <a:r>
              <a:rPr lang="ru-RU" dirty="0"/>
              <a:t>организовать общение учащихс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7113" y="1535113"/>
            <a:ext cx="2279650" cy="176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6844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трелка вправо 5"/>
          <p:cNvSpPr/>
          <p:nvPr/>
        </p:nvSpPr>
        <p:spPr>
          <a:xfrm rot="2039544">
            <a:off x="5719762" y="1733550"/>
            <a:ext cx="1266825" cy="5238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де найти приложение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oogl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lassroom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</a:t>
            </a:fld>
            <a:endParaRPr lang="ru-RU"/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54" y="1424181"/>
            <a:ext cx="7412818" cy="48958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077200" y="1181101"/>
            <a:ext cx="335851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r>
              <a:rPr lang="ru-RU" dirty="0" smtClean="0"/>
              <a:t>После </a:t>
            </a:r>
            <a:r>
              <a:rPr lang="ru-RU" dirty="0"/>
              <a:t>открытия вы попадете в </a:t>
            </a:r>
            <a:r>
              <a:rPr lang="ru-RU" dirty="0" err="1"/>
              <a:t>Google</a:t>
            </a:r>
            <a:r>
              <a:rPr lang="ru-RU" dirty="0"/>
              <a:t> </a:t>
            </a:r>
            <a:r>
              <a:rPr lang="ru-RU" dirty="0" err="1"/>
              <a:t>Classroom</a:t>
            </a:r>
            <a:r>
              <a:rPr lang="ru-RU" dirty="0"/>
              <a:t> где можно начать создавать свой курс или вы найдете учебные курсы, к которым вам дали доступ.</a:t>
            </a:r>
          </a:p>
        </p:txBody>
      </p:sp>
    </p:spTree>
    <p:extLst>
      <p:ext uri="{BB962C8B-B14F-4D97-AF65-F5344CB8AC3E}">
        <p14:creationId xmlns:p14="http://schemas.microsoft.com/office/powerpoint/2010/main" val="5408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АККАУНТА </a:t>
            </a:r>
            <a:r>
              <a:rPr lang="en-US" sz="36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GLE</a:t>
            </a:r>
            <a:endParaRPr lang="ru-RU" sz="3600" b="1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215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10" y="1268623"/>
            <a:ext cx="7127931" cy="3436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641" y="2396134"/>
            <a:ext cx="3943634" cy="4128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881534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КУРСА В GOOGLE CLASSROOM</a:t>
            </a:r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819" y="1266825"/>
            <a:ext cx="7079381" cy="4421188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38126" y="1066800"/>
            <a:ext cx="3752850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endParaRPr lang="en-US" dirty="0" smtClean="0"/>
          </a:p>
          <a:p>
            <a:pPr marL="342900" indent="-342900">
              <a:buAutoNum type="arabicParenR"/>
            </a:pPr>
            <a:r>
              <a:rPr lang="ru-RU" dirty="0" smtClean="0"/>
              <a:t>Чтобы </a:t>
            </a:r>
            <a:r>
              <a:rPr lang="ru-RU" dirty="0"/>
              <a:t>создать новый курс, нажимаем на значок </a:t>
            </a:r>
            <a:r>
              <a:rPr lang="ru-RU" dirty="0" smtClean="0"/>
              <a:t>«+»</a:t>
            </a:r>
            <a:r>
              <a:rPr lang="en-US" dirty="0" smtClean="0"/>
              <a:t>;</a:t>
            </a:r>
            <a:endParaRPr lang="en-US" dirty="0"/>
          </a:p>
          <a:p>
            <a:pPr marL="342900" indent="-342900">
              <a:buAutoNum type="arabicParenR"/>
            </a:pPr>
            <a:r>
              <a:rPr lang="ru-RU" dirty="0" smtClean="0"/>
              <a:t>В </a:t>
            </a:r>
            <a:r>
              <a:rPr lang="ru-RU" dirty="0"/>
              <a:t>появившемся меню выбрать Создать </a:t>
            </a:r>
            <a:r>
              <a:rPr lang="ru-RU" dirty="0" smtClean="0"/>
              <a:t>курс</a:t>
            </a:r>
            <a:r>
              <a:rPr lang="en-US" dirty="0" smtClean="0"/>
              <a:t>;</a:t>
            </a:r>
            <a:endParaRPr lang="en-US" dirty="0"/>
          </a:p>
          <a:p>
            <a:pPr marL="342900" indent="-342900">
              <a:buAutoNum type="arabicParenR"/>
            </a:pPr>
            <a:r>
              <a:rPr lang="ru-RU" dirty="0" smtClean="0"/>
              <a:t>В </a:t>
            </a:r>
            <a:r>
              <a:rPr lang="ru-RU" dirty="0"/>
              <a:t>окне Создать курс вводим название курса и </a:t>
            </a:r>
            <a:r>
              <a:rPr lang="ru-RU" dirty="0" smtClean="0"/>
              <a:t>Создать</a:t>
            </a:r>
            <a:r>
              <a:rPr lang="en-US" dirty="0" smtClean="0"/>
              <a:t>;</a:t>
            </a:r>
          </a:p>
          <a:p>
            <a:endParaRPr lang="ru-RU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250" y="2889250"/>
            <a:ext cx="6096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525" y="3230562"/>
            <a:ext cx="5937250" cy="1933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17525" y="5676900"/>
            <a:ext cx="67416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) </a:t>
            </a:r>
            <a:r>
              <a:rPr lang="ru-RU" dirty="0" smtClean="0"/>
              <a:t>Отправить код курса или ссылку на него ученикам через группы</a:t>
            </a:r>
          </a:p>
          <a:p>
            <a:r>
              <a:rPr lang="ru-RU" dirty="0"/>
              <a:t> </a:t>
            </a:r>
            <a:r>
              <a:rPr lang="ru-RU" dirty="0" smtClean="0"/>
              <a:t>в ВК, </a:t>
            </a:r>
            <a:r>
              <a:rPr lang="en-US" dirty="0" smtClean="0"/>
              <a:t>WhatsApp</a:t>
            </a:r>
            <a:r>
              <a:rPr lang="ru-RU" dirty="0" smtClean="0"/>
              <a:t>, </a:t>
            </a:r>
            <a:r>
              <a:rPr lang="en-US" dirty="0" smtClean="0"/>
              <a:t>Viber</a:t>
            </a:r>
            <a:r>
              <a:rPr lang="ru-RU" dirty="0" smtClean="0"/>
              <a:t>, ЭЖ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06285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создании и организации курса Вам будут доступны три основные вкладки: </a:t>
            </a:r>
            <a:r>
              <a:rPr lang="ru-RU" sz="2800" b="1" dirty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НТА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ЬЗОВАТЕЛИ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800" b="1" dirty="0" smtClean="0">
                <a:solidFill>
                  <a:schemeClr val="accent3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НИЯ</a:t>
            </a:r>
            <a:endParaRPr lang="ru-RU" sz="2800" b="1" dirty="0">
              <a:solidFill>
                <a:schemeClr val="accent3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125" y="1457325"/>
            <a:ext cx="8086726" cy="4886325"/>
          </a:xfrm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900" y="3325813"/>
            <a:ext cx="6096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905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азделе </a:t>
            </a:r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ЬЗОВАТЕЛИ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удет список обучаемых, присоединившихся к курсу </a:t>
            </a:r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1569290"/>
            <a:ext cx="7350311" cy="504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875" y="573088"/>
            <a:ext cx="2279650" cy="176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1393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 вкладке </a:t>
            </a:r>
            <a:r>
              <a:rPr lang="ru-RU" sz="4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Задания” </a:t>
            </a:r>
            <a:r>
              <a:rPr lang="ru-RU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 можете: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609600" y="1181101"/>
            <a:ext cx="10972800" cy="4945066"/>
          </a:xfrm>
        </p:spPr>
        <p:txBody>
          <a:bodyPr/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вать задания, вопросы и группировать их по темам.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бавлять учебные материалы (различного типа) и объединять их по темам.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орядочивать темы и материалы в них (если у материала нет темы, он расположен вверху страницы</a:t>
            </a:r>
            <a:r>
              <a:rPr lang="ru-RU" dirty="0"/>
              <a:t>)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2350" y="0"/>
            <a:ext cx="2279650" cy="176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965" y="2601279"/>
            <a:ext cx="6553200" cy="409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5975" y="3783013"/>
            <a:ext cx="6096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323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4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59" y="923924"/>
            <a:ext cx="5945582" cy="371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8797" y="3346287"/>
            <a:ext cx="611698" cy="682439"/>
          </a:xfrm>
          <a:prstGeom prst="rect">
            <a:avLst/>
          </a:prstGeom>
        </p:spPr>
      </p:pic>
      <p:pic>
        <p:nvPicPr>
          <p:cNvPr id="14342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141" y="3118764"/>
            <a:ext cx="5586018" cy="3491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2675" y="3687506"/>
            <a:ext cx="6096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5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1475" y="401638"/>
            <a:ext cx="2279650" cy="1768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2778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749</TotalTime>
  <Words>428</Words>
  <Application>Microsoft Office PowerPoint</Application>
  <PresentationFormat>Произвольный</PresentationFormat>
  <Paragraphs>91</Paragraphs>
  <Slides>1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Тема Office</vt:lpstr>
      <vt:lpstr>Слайд think-cell</vt:lpstr>
      <vt:lpstr>Презентация PowerPoint</vt:lpstr>
      <vt:lpstr>Платформа Google Classroom – объединяет полезные сервисы Google, организованные специально для учёбы.</vt:lpstr>
      <vt:lpstr>Где найти приложение Google Glassroom</vt:lpstr>
      <vt:lpstr>СОЗДАНИЕ АККАУНТА GOOGLE</vt:lpstr>
      <vt:lpstr>СОЗДАНИЕ КУРСА В GOOGLE CLASSROOM</vt:lpstr>
      <vt:lpstr>При создании и организации курса Вам будут доступны три основные вкладки: ЛЕНТА, ПОЛЬЗОВАТЕЛИ, ЗАДАНИЯ</vt:lpstr>
      <vt:lpstr>В разделе ПОЛЬЗОВАТЕЛИ будет список обучаемых, присоединившихся к курсу </vt:lpstr>
      <vt:lpstr>Во вкладке “Задания” вы можете:</vt:lpstr>
      <vt:lpstr>Презентация PowerPoint</vt:lpstr>
      <vt:lpstr>Лента: информация о происходящем в курсе</vt:lpstr>
      <vt:lpstr>Для просмотра сданных заданий преподаватель переходит в раздел ЛЕНТА, затем нажимает Все задания.</vt:lpstr>
      <vt:lpstr>Проверка работы.</vt:lpstr>
      <vt:lpstr>Презентация PowerPoint</vt:lpstr>
      <vt:lpstr>Преимущества сервиса</vt:lpstr>
      <vt:lpstr>Интеграция с популярными сервисами</vt:lpstr>
      <vt:lpstr>Презентация PowerPoint</vt:lpstr>
      <vt:lpstr>Результат выполнения теста получит как учитель так и ученик</vt:lpstr>
      <vt:lpstr>Недостатки сервиса Google Classroom: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саня</cp:lastModifiedBy>
  <cp:revision>1732</cp:revision>
  <cp:lastPrinted>2019-01-21T07:22:08Z</cp:lastPrinted>
  <dcterms:created xsi:type="dcterms:W3CDTF">2018-07-24T05:59:49Z</dcterms:created>
  <dcterms:modified xsi:type="dcterms:W3CDTF">2020-10-28T18:22:39Z</dcterms:modified>
</cp:coreProperties>
</file>